
<file path=[Content_Types].xml><?xml version="1.0" encoding="utf-8"?>
<Types xmlns="http://schemas.openxmlformats.org/package/2006/content-types">
  <Default Extension="avi" ContentType="video/x-msvideo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89" r:id="rId1"/>
  </p:sldMasterIdLst>
  <p:notesMasterIdLst>
    <p:notesMasterId r:id="rId18"/>
  </p:notesMasterIdLst>
  <p:sldIdLst>
    <p:sldId id="256" r:id="rId2"/>
    <p:sldId id="262" r:id="rId3"/>
    <p:sldId id="258" r:id="rId4"/>
    <p:sldId id="259" r:id="rId5"/>
    <p:sldId id="260" r:id="rId6"/>
    <p:sldId id="270" r:id="rId7"/>
    <p:sldId id="263" r:id="rId8"/>
    <p:sldId id="271" r:id="rId9"/>
    <p:sldId id="268" r:id="rId10"/>
    <p:sldId id="272" r:id="rId11"/>
    <p:sldId id="481" r:id="rId12"/>
    <p:sldId id="264" r:id="rId13"/>
    <p:sldId id="482" r:id="rId14"/>
    <p:sldId id="265" r:id="rId15"/>
    <p:sldId id="269" r:id="rId16"/>
    <p:sldId id="266" r:id="rId1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4646"/>
    <a:srgbClr val="FF92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2" d="100"/>
          <a:sy n="72" d="100"/>
        </p:scale>
        <p:origin x="54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E976BE-9708-4C9F-AE82-F427D08DF862}" type="datetimeFigureOut">
              <a:rPr lang="en-US" smtClean="0"/>
              <a:t>6/20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D8472D-4840-472C-A8C7-073F00EC4F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028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d2e7ad00b1_0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d2e7ad00b1_0_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5181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6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76356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6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95332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6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86285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Table of contents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3"/>
          <p:cNvSpPr txBox="1">
            <a:spLocks noGrp="1"/>
          </p:cNvSpPr>
          <p:nvPr>
            <p:ph type="title"/>
          </p:nvPr>
        </p:nvSpPr>
        <p:spPr>
          <a:xfrm>
            <a:off x="2347400" y="2312384"/>
            <a:ext cx="3115200" cy="614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>
                <a:solidFill>
                  <a:srgbClr val="5C504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2pPr>
            <a:lvl3pPr lvl="2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3pPr>
            <a:lvl4pPr lvl="3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4pPr>
            <a:lvl5pPr lvl="4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5pPr>
            <a:lvl6pPr lvl="5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6pPr>
            <a:lvl7pPr lvl="6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7pPr>
            <a:lvl8pPr lvl="7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8pPr>
            <a:lvl9pPr lvl="8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9pPr>
          </a:lstStyle>
          <a:p>
            <a:endParaRPr/>
          </a:p>
        </p:txBody>
      </p:sp>
      <p:sp>
        <p:nvSpPr>
          <p:cNvPr id="82" name="Google Shape;82;p13"/>
          <p:cNvSpPr txBox="1">
            <a:spLocks noGrp="1"/>
          </p:cNvSpPr>
          <p:nvPr>
            <p:ph type="title" idx="2" hasCustomPrompt="1"/>
          </p:nvPr>
        </p:nvSpPr>
        <p:spPr>
          <a:xfrm>
            <a:off x="1009600" y="2571117"/>
            <a:ext cx="1011600" cy="924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solidFill>
                  <a:srgbClr val="5C504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9pPr>
          </a:lstStyle>
          <a:p>
            <a:r>
              <a:t>xx%</a:t>
            </a:r>
          </a:p>
        </p:txBody>
      </p:sp>
      <p:sp>
        <p:nvSpPr>
          <p:cNvPr id="83" name="Google Shape;83;p13"/>
          <p:cNvSpPr txBox="1">
            <a:spLocks noGrp="1"/>
          </p:cNvSpPr>
          <p:nvPr>
            <p:ph type="subTitle" idx="1"/>
          </p:nvPr>
        </p:nvSpPr>
        <p:spPr>
          <a:xfrm>
            <a:off x="2347400" y="2926317"/>
            <a:ext cx="3115200" cy="724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13"/>
          <p:cNvSpPr txBox="1">
            <a:spLocks noGrp="1"/>
          </p:cNvSpPr>
          <p:nvPr>
            <p:ph type="title" idx="3"/>
          </p:nvPr>
        </p:nvSpPr>
        <p:spPr>
          <a:xfrm>
            <a:off x="8116800" y="2312384"/>
            <a:ext cx="3115200" cy="614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2pPr>
            <a:lvl3pPr lvl="2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3pPr>
            <a:lvl4pPr lvl="3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4pPr>
            <a:lvl5pPr lvl="4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5pPr>
            <a:lvl6pPr lvl="5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6pPr>
            <a:lvl7pPr lvl="6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7pPr>
            <a:lvl8pPr lvl="7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8pPr>
            <a:lvl9pPr lvl="8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9pPr>
          </a:lstStyle>
          <a:p>
            <a:endParaRPr/>
          </a:p>
        </p:txBody>
      </p:sp>
      <p:sp>
        <p:nvSpPr>
          <p:cNvPr id="85" name="Google Shape;85;p13"/>
          <p:cNvSpPr txBox="1">
            <a:spLocks noGrp="1"/>
          </p:cNvSpPr>
          <p:nvPr>
            <p:ph type="title" idx="4" hasCustomPrompt="1"/>
          </p:nvPr>
        </p:nvSpPr>
        <p:spPr>
          <a:xfrm>
            <a:off x="6779200" y="2571100"/>
            <a:ext cx="1011600" cy="924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9pPr>
          </a:lstStyle>
          <a:p>
            <a:r>
              <a:t>xx%</a:t>
            </a:r>
          </a:p>
        </p:txBody>
      </p:sp>
      <p:sp>
        <p:nvSpPr>
          <p:cNvPr id="86" name="Google Shape;86;p13"/>
          <p:cNvSpPr txBox="1">
            <a:spLocks noGrp="1"/>
          </p:cNvSpPr>
          <p:nvPr>
            <p:ph type="subTitle" idx="5"/>
          </p:nvPr>
        </p:nvSpPr>
        <p:spPr>
          <a:xfrm>
            <a:off x="8116800" y="2926317"/>
            <a:ext cx="3115200" cy="724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13"/>
          <p:cNvSpPr txBox="1">
            <a:spLocks noGrp="1"/>
          </p:cNvSpPr>
          <p:nvPr>
            <p:ph type="title" idx="6"/>
          </p:nvPr>
        </p:nvSpPr>
        <p:spPr>
          <a:xfrm>
            <a:off x="2347400" y="4385917"/>
            <a:ext cx="3115200" cy="614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2pPr>
            <a:lvl3pPr lvl="2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3pPr>
            <a:lvl4pPr lvl="3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4pPr>
            <a:lvl5pPr lvl="4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5pPr>
            <a:lvl6pPr lvl="5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6pPr>
            <a:lvl7pPr lvl="6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7pPr>
            <a:lvl8pPr lvl="7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8pPr>
            <a:lvl9pPr lvl="8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9pPr>
          </a:lstStyle>
          <a:p>
            <a:endParaRPr/>
          </a:p>
        </p:txBody>
      </p:sp>
      <p:sp>
        <p:nvSpPr>
          <p:cNvPr id="88" name="Google Shape;88;p13"/>
          <p:cNvSpPr txBox="1">
            <a:spLocks noGrp="1"/>
          </p:cNvSpPr>
          <p:nvPr>
            <p:ph type="title" idx="7" hasCustomPrompt="1"/>
          </p:nvPr>
        </p:nvSpPr>
        <p:spPr>
          <a:xfrm>
            <a:off x="1009600" y="4642051"/>
            <a:ext cx="1011600" cy="924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9pPr>
          </a:lstStyle>
          <a:p>
            <a:r>
              <a:t>xx%</a:t>
            </a:r>
          </a:p>
        </p:txBody>
      </p:sp>
      <p:sp>
        <p:nvSpPr>
          <p:cNvPr id="89" name="Google Shape;89;p13"/>
          <p:cNvSpPr txBox="1">
            <a:spLocks noGrp="1"/>
          </p:cNvSpPr>
          <p:nvPr>
            <p:ph type="subTitle" idx="8"/>
          </p:nvPr>
        </p:nvSpPr>
        <p:spPr>
          <a:xfrm>
            <a:off x="2347400" y="4999951"/>
            <a:ext cx="3115200" cy="724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90" name="Google Shape;90;p13"/>
          <p:cNvSpPr txBox="1">
            <a:spLocks noGrp="1"/>
          </p:cNvSpPr>
          <p:nvPr>
            <p:ph type="title" idx="9"/>
          </p:nvPr>
        </p:nvSpPr>
        <p:spPr>
          <a:xfrm>
            <a:off x="8116800" y="4385917"/>
            <a:ext cx="3115200" cy="614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2pPr>
            <a:lvl3pPr lvl="2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3pPr>
            <a:lvl4pPr lvl="3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4pPr>
            <a:lvl5pPr lvl="4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5pPr>
            <a:lvl6pPr lvl="5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6pPr>
            <a:lvl7pPr lvl="6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7pPr>
            <a:lvl8pPr lvl="7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8pPr>
            <a:lvl9pPr lvl="8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9pPr>
          </a:lstStyle>
          <a:p>
            <a:endParaRPr/>
          </a:p>
        </p:txBody>
      </p:sp>
      <p:sp>
        <p:nvSpPr>
          <p:cNvPr id="91" name="Google Shape;91;p13"/>
          <p:cNvSpPr txBox="1">
            <a:spLocks noGrp="1"/>
          </p:cNvSpPr>
          <p:nvPr>
            <p:ph type="title" idx="13" hasCustomPrompt="1"/>
          </p:nvPr>
        </p:nvSpPr>
        <p:spPr>
          <a:xfrm>
            <a:off x="6779200" y="4642051"/>
            <a:ext cx="1011600" cy="924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933"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9pPr>
          </a:lstStyle>
          <a:p>
            <a:r>
              <a:t>xx%</a:t>
            </a:r>
          </a:p>
        </p:txBody>
      </p:sp>
      <p:sp>
        <p:nvSpPr>
          <p:cNvPr id="92" name="Google Shape;92;p13"/>
          <p:cNvSpPr txBox="1">
            <a:spLocks noGrp="1"/>
          </p:cNvSpPr>
          <p:nvPr>
            <p:ph type="subTitle" idx="14"/>
          </p:nvPr>
        </p:nvSpPr>
        <p:spPr>
          <a:xfrm>
            <a:off x="8116800" y="4999951"/>
            <a:ext cx="3115200" cy="724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93" name="Google Shape;93;p13"/>
          <p:cNvSpPr txBox="1">
            <a:spLocks noGrp="1"/>
          </p:cNvSpPr>
          <p:nvPr>
            <p:ph type="title" idx="15"/>
          </p:nvPr>
        </p:nvSpPr>
        <p:spPr>
          <a:xfrm>
            <a:off x="960000" y="684400"/>
            <a:ext cx="10272000" cy="6832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 b="1"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489635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1141410" y="2674463"/>
            <a:ext cx="3196899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27918" y="3360263"/>
            <a:ext cx="3208735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4766" y="2677635"/>
            <a:ext cx="3184385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04213" y="3363435"/>
            <a:ext cx="3195830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52442" y="2674463"/>
            <a:ext cx="3194968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52442" y="3360263"/>
            <a:ext cx="3194968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6/20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48916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6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6733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6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33946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6/20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30169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6/20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07091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6/20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2932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6/20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4439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6/20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82009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smtClean="0"/>
              <a:t>6/20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58115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smtClean="0"/>
              <a:pPr/>
              <a:t>6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0235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avi"/><Relationship Id="rId1" Type="http://schemas.microsoft.com/office/2007/relationships/media" Target="../media/media1.avi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alloyui.com/examples/color-picker/hsv.html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194AEF8-E90E-4651-8616-BDBA3FCF9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784194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			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áo Cáo seminar</a:t>
            </a:r>
            <a:b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4D2B93-D293-4764-B3A6-3944F54432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0847" y="3295516"/>
            <a:ext cx="6569585" cy="999174"/>
          </a:xfrm>
        </p:spPr>
        <p:txBody>
          <a:bodyPr>
            <a:noAutofit/>
          </a:bodyPr>
          <a:lstStyle/>
          <a:p>
            <a:r>
              <a:rPr lang="en-US" sz="1800" noProof="1">
                <a:latin typeface="Times New Roman" panose="02020603050405020304" pitchFamily="18" charset="0"/>
                <a:cs typeface="Times New Roman" panose="02020603050405020304" pitchFamily="18" charset="0"/>
              </a:rPr>
              <a:t>Giảng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viên h</a:t>
            </a:r>
            <a:r>
              <a:rPr lang="vi-V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ớng dẫn: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S. Nguyễn Vinh Tiệp</a:t>
            </a:r>
            <a:endParaRPr lang="en-US" sz="1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Nhóm sinh viên thực hiện: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663FF16-9D53-467F-90C4-833019F5AF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142586" y="4195875"/>
            <a:ext cx="5903651" cy="1698898"/>
          </a:xfrm>
        </p:spPr>
        <p:txBody>
          <a:bodyPr>
            <a:normAutofit/>
          </a:bodyPr>
          <a:lstStyle/>
          <a:p>
            <a:pPr marL="342900" indent="-342900">
              <a:buAutoNum type="arabicPeriod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guyễn Lộc Linh   -   19521754</a:t>
            </a:r>
          </a:p>
          <a:p>
            <a:pPr marL="342900" indent="-342900">
              <a:buAutoNum type="arabicPeriod"/>
            </a:pPr>
            <a:r>
              <a:rPr lang="vi-V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ê Dương Khánh Việt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19522515</a:t>
            </a:r>
          </a:p>
          <a:p>
            <a:pPr marL="342900" indent="-342900">
              <a:buAutoNum type="arabicPeriod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rần Duy Quang  -  1952210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FC9E5E-D02D-445A-B40E-F8DE3226691E}"/>
              </a:ext>
            </a:extLst>
          </p:cNvPr>
          <p:cNvSpPr txBox="1"/>
          <p:nvPr/>
        </p:nvSpPr>
        <p:spPr>
          <a:xfrm>
            <a:off x="2894120" y="1247713"/>
            <a:ext cx="84249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ôn học : Nhập môn thị giác máy tính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502F237-9DD2-4F4D-AF5A-93B0812DF188}"/>
              </a:ext>
            </a:extLst>
          </p:cNvPr>
          <p:cNvSpPr txBox="1"/>
          <p:nvPr/>
        </p:nvSpPr>
        <p:spPr>
          <a:xfrm>
            <a:off x="1269505" y="2294153"/>
            <a:ext cx="101322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owerPoint Animation :  Hiệu ứng ảnh động </a:t>
            </a:r>
            <a:r>
              <a:rPr lang="en-US" sz="2800" b="1" noProof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b="1" noProof="1">
                <a:latin typeface="Times New Roman" panose="02020603050405020304" pitchFamily="18" charset="0"/>
                <a:cs typeface="Times New Roman" panose="02020603050405020304" pitchFamily="18" charset="0"/>
              </a:rPr>
              <a:t>powerpoint</a:t>
            </a: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C1F0BC89-EAD8-4D06-AB64-C39665AD37EA}"/>
              </a:ext>
            </a:extLst>
          </p:cNvPr>
          <p:cNvSpPr/>
          <p:nvPr/>
        </p:nvSpPr>
        <p:spPr>
          <a:xfrm>
            <a:off x="11464906" y="6141493"/>
            <a:ext cx="727094" cy="713880"/>
          </a:xfrm>
          <a:prstGeom prst="triangle">
            <a:avLst>
              <a:gd name="adj" fmla="val 100000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2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9589515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B0B5F5-BBDF-4019-9474-39F1D51CD3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Ph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ơng pháp thực hiệ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79E69F-973B-44E6-A785-B8E7318997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853754"/>
            <a:ext cx="12192000" cy="3685655"/>
          </a:xfrm>
        </p:spPr>
        <p:txBody>
          <a:bodyPr>
            <a:normAutofit/>
          </a:bodyPr>
          <a:lstStyle/>
          <a:p>
            <a:pPr algn="just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Warp Affine Transformation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là 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hép biến</a:t>
            </a:r>
            <a:r>
              <a:rPr lang="vi-VN" dirty="0">
                <a:cs typeface="Arial" panose="020B0604020202020204" pitchFamily="34" charset="0"/>
              </a:rPr>
              <a:t> biển đổi tọa độ điểm đặc trưng của đối tượng thành tập tương ứng với các điểm mới để tạo ra hiệu ứng cho toàn đối tượng</a:t>
            </a:r>
            <a:r>
              <a:rPr lang="en-US" dirty="0">
                <a:cs typeface="Arial" panose="020B0604020202020204" pitchFamily="34" charset="0"/>
              </a:rPr>
              <a:t>.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hép biến đổi Afin (Affine transformation)  T ánh xạ tập P(x, y) sang tập Q(x’, y’):</a:t>
            </a:r>
          </a:p>
          <a:p>
            <a:pPr marL="0" indent="0"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với a, b, c, d, e, f là các hệ số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iểu diễn ma trận:</a:t>
            </a:r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922EEF42-26C0-434D-9CA6-694349340C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0481" y="2886517"/>
            <a:ext cx="2289312" cy="810064"/>
          </a:xfrm>
          <a:prstGeom prst="rect">
            <a:avLst/>
          </a:prstGeom>
        </p:spPr>
      </p:pic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A81C0B7E-C12D-47FB-A263-26FE7F2D05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2058" y="4350608"/>
            <a:ext cx="4054950" cy="1188801"/>
          </a:xfrm>
          <a:prstGeom prst="rect">
            <a:avLst/>
          </a:prstGeom>
        </p:spPr>
      </p:pic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F77D2FC7-2347-4D80-82BE-EED914DE843C}"/>
              </a:ext>
            </a:extLst>
          </p:cNvPr>
          <p:cNvSpPr/>
          <p:nvPr/>
        </p:nvSpPr>
        <p:spPr>
          <a:xfrm>
            <a:off x="11327642" y="6141492"/>
            <a:ext cx="864358" cy="716507"/>
          </a:xfrm>
          <a:prstGeom prst="triangle">
            <a:avLst>
              <a:gd name="adj" fmla="val 100000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2"/>
                </a:solidFill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96709167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allAtOnce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Ph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ơng pháp thực hiện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24908" y="1853754"/>
            <a:ext cx="598784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ffine Transformation :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Animation: Text1"/>
          <p:cNvSpPr txBox="1"/>
          <p:nvPr/>
        </p:nvSpPr>
        <p:spPr>
          <a:xfrm>
            <a:off x="832377" y="5085136"/>
            <a:ext cx="19334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ỊNH</a:t>
            </a:r>
            <a:r>
              <a:rPr kumimoji="0" lang="en-US" sz="2800" b="0" i="0" u="none" strike="noStrike" kern="1200" cap="none" spc="0" normalizeH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TIẾN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Animation: Text2"/>
          <p:cNvSpPr txBox="1"/>
          <p:nvPr/>
        </p:nvSpPr>
        <p:spPr>
          <a:xfrm>
            <a:off x="3558031" y="5125466"/>
            <a:ext cx="35171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Ỉ</a:t>
            </a:r>
            <a:r>
              <a:rPr kumimoji="0" lang="en-US" sz="2800" b="0" i="0" u="none" strike="noStrike" kern="1200" cap="none" spc="0" normalizeH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LỆ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Animation: Text3"/>
          <p:cNvSpPr txBox="1"/>
          <p:nvPr/>
        </p:nvSpPr>
        <p:spPr>
          <a:xfrm>
            <a:off x="6269431" y="5130151"/>
            <a:ext cx="23403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noProof="0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IẾN DẠNG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Animation: Final">
            <a:extLst>
              <a:ext uri="{FF2B5EF4-FFF2-40B4-BE49-F238E27FC236}">
                <a16:creationId xmlns:a16="http://schemas.microsoft.com/office/drawing/2014/main" id="{38373AB2-176E-4282-B605-720184B7EE92}"/>
              </a:ext>
            </a:extLst>
          </p:cNvPr>
          <p:cNvSpPr txBox="1"/>
          <p:nvPr/>
        </p:nvSpPr>
        <p:spPr>
          <a:xfrm>
            <a:off x="9254309" y="5125466"/>
            <a:ext cx="29160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ÉP XOAY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" name="Picture 10" descr="Diagram&#10;&#10;Description automatically generated">
            <a:extLst>
              <a:ext uri="{FF2B5EF4-FFF2-40B4-BE49-F238E27FC236}">
                <a16:creationId xmlns:a16="http://schemas.microsoft.com/office/drawing/2014/main" id="{328A02AB-40C1-454C-BEAD-77235AA189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908" y="3341607"/>
            <a:ext cx="2340384" cy="1745258"/>
          </a:xfrm>
          <a:prstGeom prst="rect">
            <a:avLst/>
          </a:prstGeom>
        </p:spPr>
      </p:pic>
      <p:pic>
        <p:nvPicPr>
          <p:cNvPr id="13" name="Picture 1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0821E04E-F21F-4373-81E9-FBB81F1A8E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84553" y="3346936"/>
            <a:ext cx="2340384" cy="1619219"/>
          </a:xfrm>
          <a:prstGeom prst="rect">
            <a:avLst/>
          </a:prstGeom>
        </p:spPr>
      </p:pic>
      <p:pic>
        <p:nvPicPr>
          <p:cNvPr id="19" name="Picture 18" descr="A picture containing diagram&#10;&#10;Description automatically generated">
            <a:extLst>
              <a:ext uri="{FF2B5EF4-FFF2-40B4-BE49-F238E27FC236}">
                <a16:creationId xmlns:a16="http://schemas.microsoft.com/office/drawing/2014/main" id="{17BA4548-3662-4A2A-851B-4AF64F81B7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44198" y="3341607"/>
            <a:ext cx="2990850" cy="1476375"/>
          </a:xfrm>
          <a:prstGeom prst="rect">
            <a:avLst/>
          </a:prstGeom>
        </p:spPr>
      </p:pic>
      <p:pic>
        <p:nvPicPr>
          <p:cNvPr id="21" name="Picture 20" descr="A picture containing arrow&#10;&#10;Description automatically generated">
            <a:extLst>
              <a:ext uri="{FF2B5EF4-FFF2-40B4-BE49-F238E27FC236}">
                <a16:creationId xmlns:a16="http://schemas.microsoft.com/office/drawing/2014/main" id="{AE67235A-9C5B-4D0E-A713-7CE4F4150D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54309" y="3341607"/>
            <a:ext cx="2340384" cy="1518760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4470D069-85B6-4D70-9A8C-EA56DABA8580}"/>
              </a:ext>
            </a:extLst>
          </p:cNvPr>
          <p:cNvSpPr/>
          <p:nvPr/>
        </p:nvSpPr>
        <p:spPr>
          <a:xfrm>
            <a:off x="11327642" y="6141492"/>
            <a:ext cx="864358" cy="716507"/>
          </a:xfrm>
          <a:prstGeom prst="triangle">
            <a:avLst>
              <a:gd name="adj" fmla="val 100000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2"/>
                </a:solidFill>
              </a:rPr>
              <a:t>1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757369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6" grpId="0" build="p"/>
      <p:bldP spid="7" grpId="0" build="p"/>
      <p:bldP spid="9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69EE47-D89A-4E32-A05B-7B9B057647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. Demo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F75D4B5-E51B-4476-98F9-8999E65A3C2A}"/>
              </a:ext>
            </a:extLst>
          </p:cNvPr>
          <p:cNvSpPr txBox="1"/>
          <p:nvPr/>
        </p:nvSpPr>
        <p:spPr>
          <a:xfrm>
            <a:off x="1781195" y="3059668"/>
            <a:ext cx="34269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uy Quang sẽ demo vài hoạt ảnh 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F71FA63F-22C0-413D-B888-5F9C6E0FFF74}"/>
              </a:ext>
            </a:extLst>
          </p:cNvPr>
          <p:cNvSpPr/>
          <p:nvPr/>
        </p:nvSpPr>
        <p:spPr>
          <a:xfrm>
            <a:off x="11327642" y="6141492"/>
            <a:ext cx="864358" cy="716507"/>
          </a:xfrm>
          <a:prstGeom prst="triangle">
            <a:avLst>
              <a:gd name="adj" fmla="val 100000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2"/>
                </a:solidFill>
              </a:rPr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1432823700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69EE47-D89A-4E32-A05B-7B9B057647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. Demo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F75D4B5-E51B-4476-98F9-8999E65A3C2A}"/>
              </a:ext>
            </a:extLst>
          </p:cNvPr>
          <p:cNvSpPr txBox="1"/>
          <p:nvPr/>
        </p:nvSpPr>
        <p:spPr>
          <a:xfrm>
            <a:off x="1781195" y="3059668"/>
            <a:ext cx="34269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uy Quang sẽ demo vài hoạt ảnh </a:t>
            </a:r>
          </a:p>
        </p:txBody>
      </p:sp>
      <p:pic>
        <p:nvPicPr>
          <p:cNvPr id="6" name="Ban 6">
            <a:hlinkClick r:id="" action="ppaction://media"/>
            <a:extLst>
              <a:ext uri="{FF2B5EF4-FFF2-40B4-BE49-F238E27FC236}">
                <a16:creationId xmlns:a16="http://schemas.microsoft.com/office/drawing/2014/main" id="{538E92C7-6338-471F-AECC-67DA2409373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3813" y="0"/>
            <a:ext cx="121443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34959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97633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7B82D5-7565-4030-ACEB-30A5A63FB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.Kết luậ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EB2807-25B6-44B2-9635-CCF3493536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Kết quả đạt đ</a:t>
            </a:r>
            <a:r>
              <a:rPr lang="vi-V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ợc: </a:t>
            </a: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Nhóm đã tìm hiểu và hoàn thành một số animation trên powerpoint.</a:t>
            </a: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ài đặt chương trình nhanh và dễ sử dụng.</a:t>
            </a:r>
          </a:p>
          <a:p>
            <a:pPr marL="0" indent="0">
              <a:buNone/>
            </a:pP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ạn chế:</a:t>
            </a: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ưa thực hiện được tất cả các animation trong powerpoint.</a:t>
            </a: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imation có thể không giống y hệt trong powerpoint.</a:t>
            </a:r>
          </a:p>
          <a:p>
            <a:pPr marL="0" indent="0">
              <a:buNone/>
            </a:pP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C05EF461-D83F-4080-BD90-B294A2E76E84}"/>
              </a:ext>
            </a:extLst>
          </p:cNvPr>
          <p:cNvSpPr/>
          <p:nvPr/>
        </p:nvSpPr>
        <p:spPr>
          <a:xfrm>
            <a:off x="11327642" y="6141492"/>
            <a:ext cx="864358" cy="716507"/>
          </a:xfrm>
          <a:prstGeom prst="triangle">
            <a:avLst>
              <a:gd name="adj" fmla="val 100000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2"/>
                </a:solidFill>
              </a:rPr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3179177455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7B82D5-7565-4030-ACEB-30A5A63FB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.Kết luậ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EB2807-25B6-44B2-9635-CCF3493536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Định hướng: </a:t>
            </a:r>
          </a:p>
          <a:p>
            <a:r>
              <a:rPr lang="en-US" sz="2400" dirty="0"/>
              <a:t>Cố gắng tìm hiểu và cài đặt được tất cả các animation trong </a:t>
            </a:r>
            <a:r>
              <a:rPr lang="en-US" sz="2400"/>
              <a:t>powerpoint.</a:t>
            </a:r>
          </a:p>
          <a:p>
            <a:r>
              <a:rPr lang="en-US" sz="2400"/>
              <a:t>Tạo thêm transparent animation.</a:t>
            </a:r>
            <a:endParaRPr lang="en-US" sz="2400" dirty="0"/>
          </a:p>
          <a:p>
            <a:r>
              <a:rPr lang="en-US" sz="2400" dirty="0"/>
              <a:t>Thiết kế app tự động chỉnh animations cho các slides mà ng</a:t>
            </a:r>
            <a:r>
              <a:rPr lang="vi-VN" sz="2400" dirty="0"/>
              <a:t>ư</a:t>
            </a:r>
            <a:r>
              <a:rPr lang="en-US" sz="2400" dirty="0"/>
              <a:t>ời dùng đ</a:t>
            </a:r>
            <a:r>
              <a:rPr lang="vi-VN" sz="2400" dirty="0"/>
              <a:t>ư</a:t>
            </a:r>
            <a:r>
              <a:rPr lang="en-US" sz="2400" dirty="0"/>
              <a:t>a vào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C14BAE41-DFCE-4C1D-881D-2274E146609D}"/>
              </a:ext>
            </a:extLst>
          </p:cNvPr>
          <p:cNvSpPr/>
          <p:nvPr/>
        </p:nvSpPr>
        <p:spPr>
          <a:xfrm>
            <a:off x="11327642" y="6141492"/>
            <a:ext cx="864358" cy="716507"/>
          </a:xfrm>
          <a:prstGeom prst="triangle">
            <a:avLst>
              <a:gd name="adj" fmla="val 100000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2"/>
                </a:solidFill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282580949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3F43EC-2FBD-46AB-A164-CACE7B3651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2286" y="958788"/>
            <a:ext cx="10666439" cy="161573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ẢM </a:t>
            </a:r>
            <a:r>
              <a:rPr lang="vi-VN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Ơ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 THẦY VÀ CÁC BẠN ĐÃ CHÚ Ý LẮNG NGHE</a:t>
            </a:r>
          </a:p>
        </p:txBody>
      </p:sp>
      <p:pic>
        <p:nvPicPr>
          <p:cNvPr id="4" name="Hình ảnh 5" descr="Ảnh có chứa văn bản&#10;&#10;Mô tả được tự động tạo">
            <a:extLst>
              <a:ext uri="{FF2B5EF4-FFF2-40B4-BE49-F238E27FC236}">
                <a16:creationId xmlns:a16="http://schemas.microsoft.com/office/drawing/2014/main" id="{241D7E1C-7C61-456C-9AA5-56E56BB7E4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773657"/>
            <a:ext cx="2286000" cy="2276475"/>
          </a:xfrm>
          <a:prstGeom prst="rect">
            <a:avLst/>
          </a:prstGeom>
        </p:spPr>
      </p:pic>
      <p:pic>
        <p:nvPicPr>
          <p:cNvPr id="5" name="Hình ảnh 4">
            <a:extLst>
              <a:ext uri="{FF2B5EF4-FFF2-40B4-BE49-F238E27FC236}">
                <a16:creationId xmlns:a16="http://schemas.microsoft.com/office/drawing/2014/main" id="{67EA2645-E3F2-4DFC-A93E-5CA74FCDBF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29171" y="3302494"/>
            <a:ext cx="2581113" cy="282257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A7BEAE1-E86A-4AD8-872D-EF580E688DBA}"/>
              </a:ext>
            </a:extLst>
          </p:cNvPr>
          <p:cNvSpPr txBox="1"/>
          <p:nvPr/>
        </p:nvSpPr>
        <p:spPr>
          <a:xfrm>
            <a:off x="958789" y="2521258"/>
            <a:ext cx="104312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Link </a:t>
            </a:r>
            <a:r>
              <a:rPr lang="en-US" sz="2400" dirty="0" err="1"/>
              <a:t>Github</a:t>
            </a:r>
            <a:r>
              <a:rPr lang="en-US" sz="2400" dirty="0"/>
              <a:t>:  </a:t>
            </a:r>
            <a:r>
              <a:rPr lang="en-US" sz="2400" dirty="0">
                <a:solidFill>
                  <a:srgbClr val="00B0F0"/>
                </a:solidFill>
              </a:rPr>
              <a:t>https://github.com/19522515/CS231.L21-Computer-Vision-Project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8DB778E7-6827-4BF0-9AE2-CC4290CE7593}"/>
              </a:ext>
            </a:extLst>
          </p:cNvPr>
          <p:cNvSpPr/>
          <p:nvPr/>
        </p:nvSpPr>
        <p:spPr>
          <a:xfrm>
            <a:off x="11327642" y="6141492"/>
            <a:ext cx="864358" cy="716507"/>
          </a:xfrm>
          <a:prstGeom prst="triangle">
            <a:avLst>
              <a:gd name="adj" fmla="val 100000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2"/>
                </a:solidFill>
              </a:rPr>
              <a:t>16</a:t>
            </a:r>
          </a:p>
        </p:txBody>
      </p:sp>
    </p:spTree>
    <p:extLst>
      <p:ext uri="{BB962C8B-B14F-4D97-AF65-F5344CB8AC3E}">
        <p14:creationId xmlns:p14="http://schemas.microsoft.com/office/powerpoint/2010/main" val="381653009"/>
      </p:ext>
    </p:extLst>
  </p:cSld>
  <p:clrMapOvr>
    <a:masterClrMapping/>
  </p:clrMapOvr>
  <p:transition spd="slow">
    <p:cover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1"/>
          <p:cNvSpPr/>
          <p:nvPr/>
        </p:nvSpPr>
        <p:spPr>
          <a:xfrm>
            <a:off x="910400" y="1413958"/>
            <a:ext cx="1110800" cy="1110800"/>
          </a:xfrm>
          <a:prstGeom prst="rect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0" name="Google Shape;220;p31"/>
          <p:cNvSpPr/>
          <p:nvPr/>
        </p:nvSpPr>
        <p:spPr>
          <a:xfrm>
            <a:off x="960000" y="4514483"/>
            <a:ext cx="1110800" cy="1110800"/>
          </a:xfrm>
          <a:prstGeom prst="rect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1" name="Google Shape;221;p31"/>
          <p:cNvSpPr/>
          <p:nvPr/>
        </p:nvSpPr>
        <p:spPr>
          <a:xfrm>
            <a:off x="6729600" y="4514483"/>
            <a:ext cx="1110800" cy="1110800"/>
          </a:xfrm>
          <a:prstGeom prst="rect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2" name="Google Shape;232;p31"/>
          <p:cNvSpPr txBox="1">
            <a:spLocks noGrp="1"/>
          </p:cNvSpPr>
          <p:nvPr>
            <p:ph type="title"/>
          </p:nvPr>
        </p:nvSpPr>
        <p:spPr>
          <a:xfrm>
            <a:off x="2196480" y="1662358"/>
            <a:ext cx="3115200" cy="6140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Giới thiệu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7" name="Google Shape;227;p31"/>
          <p:cNvSpPr txBox="1">
            <a:spLocks noGrp="1"/>
          </p:cNvSpPr>
          <p:nvPr>
            <p:ph type="title" idx="2"/>
          </p:nvPr>
        </p:nvSpPr>
        <p:spPr>
          <a:xfrm>
            <a:off x="910399" y="1427844"/>
            <a:ext cx="1110799" cy="1096914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r>
              <a:rPr lang="en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9" name="Google Shape;229;p31"/>
          <p:cNvSpPr txBox="1">
            <a:spLocks noGrp="1"/>
          </p:cNvSpPr>
          <p:nvPr>
            <p:ph type="title" idx="3"/>
          </p:nvPr>
        </p:nvSpPr>
        <p:spPr>
          <a:xfrm>
            <a:off x="7281435" y="1528246"/>
            <a:ext cx="4161882" cy="748112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ác animation đã làm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3" name="Google Shape;233;p31"/>
          <p:cNvSpPr txBox="1">
            <a:spLocks noGrp="1"/>
          </p:cNvSpPr>
          <p:nvPr>
            <p:ph type="title" idx="4"/>
          </p:nvPr>
        </p:nvSpPr>
        <p:spPr>
          <a:xfrm>
            <a:off x="942331" y="4642051"/>
            <a:ext cx="1011600" cy="9244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r>
              <a:rPr lang="en" dirty="0"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2" name="Google Shape;222;p31"/>
          <p:cNvSpPr txBox="1">
            <a:spLocks noGrp="1"/>
          </p:cNvSpPr>
          <p:nvPr>
            <p:ph type="title" idx="6"/>
          </p:nvPr>
        </p:nvSpPr>
        <p:spPr>
          <a:xfrm>
            <a:off x="2196480" y="3212620"/>
            <a:ext cx="3115200" cy="6140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Ph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ơng pháp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4" name="Google Shape;234;p31"/>
          <p:cNvSpPr txBox="1">
            <a:spLocks noGrp="1"/>
          </p:cNvSpPr>
          <p:nvPr>
            <p:ph type="title" idx="7"/>
          </p:nvPr>
        </p:nvSpPr>
        <p:spPr>
          <a:xfrm>
            <a:off x="910399" y="3057420"/>
            <a:ext cx="1011600" cy="924400"/>
          </a:xfrm>
          <a:prstGeom prst="rect">
            <a:avLst/>
          </a:prstGeom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r>
              <a:rPr lang="en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5" name="Google Shape;235;p31"/>
          <p:cNvSpPr txBox="1">
            <a:spLocks noGrp="1"/>
          </p:cNvSpPr>
          <p:nvPr>
            <p:ph type="title" idx="13"/>
          </p:nvPr>
        </p:nvSpPr>
        <p:spPr>
          <a:xfrm>
            <a:off x="5871822" y="3042207"/>
            <a:ext cx="1011600" cy="9244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r>
              <a:rPr lang="en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</a:p>
        </p:txBody>
      </p:sp>
      <p:sp>
        <p:nvSpPr>
          <p:cNvPr id="230" name="Google Shape;230;p31"/>
          <p:cNvSpPr txBox="1">
            <a:spLocks noGrp="1"/>
          </p:cNvSpPr>
          <p:nvPr>
            <p:ph type="title" idx="15"/>
          </p:nvPr>
        </p:nvSpPr>
        <p:spPr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Tổng quan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Google Shape;219;p31">
            <a:extLst>
              <a:ext uri="{FF2B5EF4-FFF2-40B4-BE49-F238E27FC236}">
                <a16:creationId xmlns:a16="http://schemas.microsoft.com/office/drawing/2014/main" id="{9B1CC3A7-F44D-49CD-9B84-F1411A326057}"/>
              </a:ext>
            </a:extLst>
          </p:cNvPr>
          <p:cNvSpPr/>
          <p:nvPr/>
        </p:nvSpPr>
        <p:spPr>
          <a:xfrm>
            <a:off x="910399" y="2964220"/>
            <a:ext cx="1110800" cy="1110800"/>
          </a:xfrm>
          <a:prstGeom prst="rect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Google Shape;219;p31">
            <a:extLst>
              <a:ext uri="{FF2B5EF4-FFF2-40B4-BE49-F238E27FC236}">
                <a16:creationId xmlns:a16="http://schemas.microsoft.com/office/drawing/2014/main" id="{1F18C9DC-88DA-46EE-88B3-DD2FBD94CBD9}"/>
              </a:ext>
            </a:extLst>
          </p:cNvPr>
          <p:cNvSpPr/>
          <p:nvPr/>
        </p:nvSpPr>
        <p:spPr>
          <a:xfrm>
            <a:off x="5827243" y="2947378"/>
            <a:ext cx="1110800" cy="1110800"/>
          </a:xfrm>
          <a:prstGeom prst="rect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Google Shape;219;p31">
            <a:extLst>
              <a:ext uri="{FF2B5EF4-FFF2-40B4-BE49-F238E27FC236}">
                <a16:creationId xmlns:a16="http://schemas.microsoft.com/office/drawing/2014/main" id="{D1436042-CAA8-4D5F-8EF0-347728584AB0}"/>
              </a:ext>
            </a:extLst>
          </p:cNvPr>
          <p:cNvSpPr/>
          <p:nvPr/>
        </p:nvSpPr>
        <p:spPr>
          <a:xfrm>
            <a:off x="910399" y="4548851"/>
            <a:ext cx="1110800" cy="1110800"/>
          </a:xfrm>
          <a:prstGeom prst="rect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Google Shape;219;p31">
            <a:extLst>
              <a:ext uri="{FF2B5EF4-FFF2-40B4-BE49-F238E27FC236}">
                <a16:creationId xmlns:a16="http://schemas.microsoft.com/office/drawing/2014/main" id="{3171C897-BD4B-4DDA-A7E2-2C7FD5C37251}"/>
              </a:ext>
            </a:extLst>
          </p:cNvPr>
          <p:cNvSpPr/>
          <p:nvPr/>
        </p:nvSpPr>
        <p:spPr>
          <a:xfrm>
            <a:off x="5828399" y="1413958"/>
            <a:ext cx="1110800" cy="1110800"/>
          </a:xfrm>
          <a:prstGeom prst="rect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Google Shape;233;p31">
            <a:extLst>
              <a:ext uri="{FF2B5EF4-FFF2-40B4-BE49-F238E27FC236}">
                <a16:creationId xmlns:a16="http://schemas.microsoft.com/office/drawing/2014/main" id="{3BED2C2E-2F26-4A59-BF21-3C5A6BE8012F}"/>
              </a:ext>
            </a:extLst>
          </p:cNvPr>
          <p:cNvSpPr txBox="1">
            <a:spLocks/>
          </p:cNvSpPr>
          <p:nvPr/>
        </p:nvSpPr>
        <p:spPr>
          <a:xfrm>
            <a:off x="5827243" y="1480781"/>
            <a:ext cx="1011600" cy="9244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>
            <a:lvl1pPr lvl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 sz="3200" b="0" i="0" kern="1200" cap="all">
                <a:solidFill>
                  <a:schemeClr val="dk2"/>
                </a:solidFill>
                <a:effectLst/>
                <a:latin typeface="+mj-lt"/>
                <a:ea typeface="+mj-ea"/>
                <a:cs typeface="+mj-c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9pPr>
          </a:lstStyle>
          <a:p>
            <a:r>
              <a:rPr lang="en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34" name="Google Shape;225;p31">
            <a:extLst>
              <a:ext uri="{FF2B5EF4-FFF2-40B4-BE49-F238E27FC236}">
                <a16:creationId xmlns:a16="http://schemas.microsoft.com/office/drawing/2014/main" id="{C5491871-15DA-4636-B01A-ADF29CFBFF7C}"/>
              </a:ext>
            </a:extLst>
          </p:cNvPr>
          <p:cNvSpPr txBox="1">
            <a:spLocks/>
          </p:cNvSpPr>
          <p:nvPr/>
        </p:nvSpPr>
        <p:spPr>
          <a:xfrm>
            <a:off x="2195743" y="4797251"/>
            <a:ext cx="5085691" cy="6140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>
            <a:lvl1pPr lv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 b="0" i="0" kern="1200" cap="all">
                <a:solidFill>
                  <a:schemeClr val="dk2"/>
                </a:solidFill>
                <a:effectLst/>
                <a:latin typeface="+mj-lt"/>
                <a:ea typeface="+mj-ea"/>
                <a:cs typeface="+mj-c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2pPr>
            <a:lvl3pPr lvl="2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3pPr>
            <a:lvl4pPr lvl="3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4pPr>
            <a:lvl5pPr lvl="4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5pPr>
            <a:lvl6pPr lvl="5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6pPr>
            <a:lvl7pPr lvl="6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7pPr>
            <a:lvl8pPr lvl="7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8pPr>
            <a:lvl9pPr lvl="8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9pPr>
          </a:lstStyle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kết luận, Đánh giá</a:t>
            </a:r>
          </a:p>
        </p:txBody>
      </p:sp>
      <p:sp>
        <p:nvSpPr>
          <p:cNvPr id="35" name="Google Shape;225;p31">
            <a:extLst>
              <a:ext uri="{FF2B5EF4-FFF2-40B4-BE49-F238E27FC236}">
                <a16:creationId xmlns:a16="http://schemas.microsoft.com/office/drawing/2014/main" id="{965BA0D9-48D8-4800-AC5B-8D12A646DA03}"/>
              </a:ext>
            </a:extLst>
          </p:cNvPr>
          <p:cNvSpPr txBox="1">
            <a:spLocks/>
          </p:cNvSpPr>
          <p:nvPr/>
        </p:nvSpPr>
        <p:spPr>
          <a:xfrm>
            <a:off x="7176032" y="3190264"/>
            <a:ext cx="3115200" cy="6140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>
            <a:lvl1pPr lv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 b="0" i="0" kern="1200" cap="all">
                <a:solidFill>
                  <a:schemeClr val="dk2"/>
                </a:solidFill>
                <a:effectLst/>
                <a:latin typeface="+mj-lt"/>
                <a:ea typeface="+mj-ea"/>
                <a:cs typeface="+mj-c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2pPr>
            <a:lvl3pPr lvl="2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3pPr>
            <a:lvl4pPr lvl="3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4pPr>
            <a:lvl5pPr lvl="4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5pPr>
            <a:lvl6pPr lvl="5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6pPr>
            <a:lvl7pPr lvl="6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7pPr>
            <a:lvl8pPr lvl="7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8pPr>
            <a:lvl9pPr lvl="8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9pPr>
          </a:lstStyle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mo</a:t>
            </a: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5FAF8029-4064-4E42-ACF3-42EBEC6D48F2}"/>
              </a:ext>
            </a:extLst>
          </p:cNvPr>
          <p:cNvSpPr/>
          <p:nvPr/>
        </p:nvSpPr>
        <p:spPr>
          <a:xfrm>
            <a:off x="11464906" y="6141493"/>
            <a:ext cx="727094" cy="713880"/>
          </a:xfrm>
          <a:prstGeom prst="triangle">
            <a:avLst>
              <a:gd name="adj" fmla="val 100000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2"/>
                </a:solidFill>
              </a:rPr>
              <a:t>2</a:t>
            </a:r>
          </a:p>
        </p:txBody>
      </p:sp>
    </p:spTree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C26219-39EC-4FDC-AA78-EAB4BDDC9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 Giới thiệu đề tài</a:t>
            </a:r>
          </a:p>
        </p:txBody>
      </p:sp>
      <p:pic>
        <p:nvPicPr>
          <p:cNvPr id="1026" name="Picture 2" descr="https://cms-assets.tutsplus.com/uploads/users/52/posts/27552/image/powerpoint-fade.jpg">
            <a:extLst>
              <a:ext uri="{FF2B5EF4-FFF2-40B4-BE49-F238E27FC236}">
                <a16:creationId xmlns:a16="http://schemas.microsoft.com/office/drawing/2014/main" id="{E7FE31D7-170B-4082-98E0-E4A4B5F077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7902" y="1580226"/>
            <a:ext cx="8774098" cy="4556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627C8FD0-643C-49FD-8F60-56BA166F61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" y="2915559"/>
            <a:ext cx="3190179" cy="1786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204168E0-4193-4B48-BCAD-A12AB8228A4A}"/>
              </a:ext>
            </a:extLst>
          </p:cNvPr>
          <p:cNvSpPr/>
          <p:nvPr/>
        </p:nvSpPr>
        <p:spPr>
          <a:xfrm>
            <a:off x="11464906" y="6141493"/>
            <a:ext cx="727094" cy="713880"/>
          </a:xfrm>
          <a:prstGeom prst="triangle">
            <a:avLst>
              <a:gd name="adj" fmla="val 100000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2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0981185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C1E1A03F-40D7-40EE-B08C-7521362DCC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20084" y="2349268"/>
            <a:ext cx="2766138" cy="678017"/>
          </a:xfrm>
        </p:spPr>
        <p:txBody>
          <a:bodyPr/>
          <a:lstStyle/>
          <a:p>
            <a:r>
              <a:rPr lang="en-US" dirty="0"/>
              <a:t>		Random Bars</a:t>
            </a:r>
          </a:p>
        </p:txBody>
      </p:sp>
      <p:pic>
        <p:nvPicPr>
          <p:cNvPr id="2050" name="Picture 2" descr="https://www.ishn.com/ext/resources/900x550/airplane-plane-flight-900.jpg?1583412590">
            <a:extLst>
              <a:ext uri="{FF2B5EF4-FFF2-40B4-BE49-F238E27FC236}">
                <a16:creationId xmlns:a16="http://schemas.microsoft.com/office/drawing/2014/main" id="{D5E59FB7-0C21-4101-9843-AC2012A75A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344" y="208486"/>
            <a:ext cx="3233941" cy="197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https://www.ishn.com/ext/resources/900x550/airplane-plane-flight-900.jpg?1583412590">
            <a:extLst>
              <a:ext uri="{FF2B5EF4-FFF2-40B4-BE49-F238E27FC236}">
                <a16:creationId xmlns:a16="http://schemas.microsoft.com/office/drawing/2014/main" id="{22A83B43-25E6-471E-948A-BC3C4424D1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9029" y="208486"/>
            <a:ext cx="3233941" cy="197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https://www.ishn.com/ext/resources/900x550/airplane-plane-flight-900.jpg?1583412590">
            <a:extLst>
              <a:ext uri="{FF2B5EF4-FFF2-40B4-BE49-F238E27FC236}">
                <a16:creationId xmlns:a16="http://schemas.microsoft.com/office/drawing/2014/main" id="{BE0F6AB1-175E-4711-85D3-8AF8396422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5525" y="208486"/>
            <a:ext cx="3233941" cy="197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https://www.ishn.com/ext/resources/900x550/airplane-plane-flight-900.jpg?1583412590">
            <a:extLst>
              <a:ext uri="{FF2B5EF4-FFF2-40B4-BE49-F238E27FC236}">
                <a16:creationId xmlns:a16="http://schemas.microsoft.com/office/drawing/2014/main" id="{80AE6FFB-D5F4-4337-8E09-0DF9AD5D08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73" y="3191769"/>
            <a:ext cx="3233941" cy="197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https://www.ishn.com/ext/resources/900x550/airplane-plane-flight-900.jpg?1583412590">
            <a:extLst>
              <a:ext uri="{FF2B5EF4-FFF2-40B4-BE49-F238E27FC236}">
                <a16:creationId xmlns:a16="http://schemas.microsoft.com/office/drawing/2014/main" id="{5B5993D3-5989-40DE-8D38-20A2075846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9029" y="3191769"/>
            <a:ext cx="3233941" cy="197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https://www.ishn.com/ext/resources/900x550/airplane-plane-flight-900.jpg?1583412590">
            <a:extLst>
              <a:ext uri="{FF2B5EF4-FFF2-40B4-BE49-F238E27FC236}">
                <a16:creationId xmlns:a16="http://schemas.microsoft.com/office/drawing/2014/main" id="{6A30274F-49A1-433B-9F90-A22DC8468D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5524" y="3191769"/>
            <a:ext cx="3233941" cy="197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ubtitle 4">
            <a:extLst>
              <a:ext uri="{FF2B5EF4-FFF2-40B4-BE49-F238E27FC236}">
                <a16:creationId xmlns:a16="http://schemas.microsoft.com/office/drawing/2014/main" id="{251BCBF5-BEA8-4B9C-916C-1BBA9B600D04}"/>
              </a:ext>
            </a:extLst>
          </p:cNvPr>
          <p:cNvSpPr txBox="1">
            <a:spLocks/>
          </p:cNvSpPr>
          <p:nvPr/>
        </p:nvSpPr>
        <p:spPr>
          <a:xfrm>
            <a:off x="564344" y="5332551"/>
            <a:ext cx="2766138" cy="678017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>
            <a:lvl1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8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4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		Bounce</a:t>
            </a:r>
          </a:p>
        </p:txBody>
      </p:sp>
      <p:sp>
        <p:nvSpPr>
          <p:cNvPr id="24" name="Subtitle 4">
            <a:extLst>
              <a:ext uri="{FF2B5EF4-FFF2-40B4-BE49-F238E27FC236}">
                <a16:creationId xmlns:a16="http://schemas.microsoft.com/office/drawing/2014/main" id="{E4488ED4-E0D4-4F3D-9E6B-9C49F23AF049}"/>
              </a:ext>
            </a:extLst>
          </p:cNvPr>
          <p:cNvSpPr txBox="1">
            <a:spLocks/>
          </p:cNvSpPr>
          <p:nvPr/>
        </p:nvSpPr>
        <p:spPr>
          <a:xfrm>
            <a:off x="4620084" y="5332551"/>
            <a:ext cx="2766138" cy="678017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>
            <a:lvl1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8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4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	     Grow &amp; Turn</a:t>
            </a:r>
          </a:p>
        </p:txBody>
      </p:sp>
      <p:sp>
        <p:nvSpPr>
          <p:cNvPr id="25" name="Subtitle 4">
            <a:extLst>
              <a:ext uri="{FF2B5EF4-FFF2-40B4-BE49-F238E27FC236}">
                <a16:creationId xmlns:a16="http://schemas.microsoft.com/office/drawing/2014/main" id="{A6FAB5BA-6761-4B1A-8366-F732A74C6215}"/>
              </a:ext>
            </a:extLst>
          </p:cNvPr>
          <p:cNvSpPr txBox="1">
            <a:spLocks/>
          </p:cNvSpPr>
          <p:nvPr/>
        </p:nvSpPr>
        <p:spPr>
          <a:xfrm>
            <a:off x="8949425" y="2349268"/>
            <a:ext cx="2766138" cy="678017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>
            <a:lvl1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8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4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		Wheel</a:t>
            </a:r>
          </a:p>
        </p:txBody>
      </p:sp>
      <p:sp>
        <p:nvSpPr>
          <p:cNvPr id="26" name="Subtitle 4">
            <a:extLst>
              <a:ext uri="{FF2B5EF4-FFF2-40B4-BE49-F238E27FC236}">
                <a16:creationId xmlns:a16="http://schemas.microsoft.com/office/drawing/2014/main" id="{6D9C2707-02D1-43C5-8D3B-5F732753995C}"/>
              </a:ext>
            </a:extLst>
          </p:cNvPr>
          <p:cNvSpPr txBox="1">
            <a:spLocks/>
          </p:cNvSpPr>
          <p:nvPr/>
        </p:nvSpPr>
        <p:spPr>
          <a:xfrm>
            <a:off x="722787" y="2349268"/>
            <a:ext cx="2766138" cy="678017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>
            <a:lvl1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8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4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		Fly in</a:t>
            </a:r>
          </a:p>
        </p:txBody>
      </p:sp>
      <p:sp>
        <p:nvSpPr>
          <p:cNvPr id="27" name="Subtitle 4">
            <a:extLst>
              <a:ext uri="{FF2B5EF4-FFF2-40B4-BE49-F238E27FC236}">
                <a16:creationId xmlns:a16="http://schemas.microsoft.com/office/drawing/2014/main" id="{E943DF60-CDC2-4593-A26D-1D9D5C7B46E0}"/>
              </a:ext>
            </a:extLst>
          </p:cNvPr>
          <p:cNvSpPr txBox="1">
            <a:spLocks/>
          </p:cNvSpPr>
          <p:nvPr/>
        </p:nvSpPr>
        <p:spPr>
          <a:xfrm>
            <a:off x="8943391" y="5168067"/>
            <a:ext cx="2766138" cy="678017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>
            <a:lvl1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8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4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		Zoom</a:t>
            </a:r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698F80B3-DE56-4887-8D06-943A49D8E1AB}"/>
              </a:ext>
            </a:extLst>
          </p:cNvPr>
          <p:cNvSpPr/>
          <p:nvPr/>
        </p:nvSpPr>
        <p:spPr>
          <a:xfrm>
            <a:off x="11464906" y="6141493"/>
            <a:ext cx="727094" cy="713880"/>
          </a:xfrm>
          <a:prstGeom prst="triangle">
            <a:avLst>
              <a:gd name="adj" fmla="val 100000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978380843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9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4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23" grpId="0"/>
      <p:bldP spid="24" grpId="0"/>
      <p:bldP spid="25" grpId="0"/>
      <p:bldP spid="26" grpId="0"/>
      <p:bldP spid="2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EA9889-AF3A-4386-A180-ED6A4652A5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 Các animation đã làm</a:t>
            </a:r>
          </a:p>
        </p:txBody>
      </p:sp>
      <p:pic>
        <p:nvPicPr>
          <p:cNvPr id="4" name="Picture 2" descr="https://www.ishn.com/ext/resources/900x550/airplane-plane-flight-900.jpg?1583412590">
            <a:extLst>
              <a:ext uri="{FF2B5EF4-FFF2-40B4-BE49-F238E27FC236}">
                <a16:creationId xmlns:a16="http://schemas.microsoft.com/office/drawing/2014/main" id="{4C34A3E3-0B3F-4651-A423-86EB37C71C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2277" y="3394020"/>
            <a:ext cx="2342362" cy="1130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61A20DC-6271-40AD-8B16-D88500E4B5EF}"/>
              </a:ext>
            </a:extLst>
          </p:cNvPr>
          <p:cNvSpPr/>
          <p:nvPr/>
        </p:nvSpPr>
        <p:spPr>
          <a:xfrm>
            <a:off x="6320854" y="3959415"/>
            <a:ext cx="25195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 5. Wheel</a:t>
            </a:r>
          </a:p>
        </p:txBody>
      </p:sp>
      <p:pic>
        <p:nvPicPr>
          <p:cNvPr id="8" name="Picture 2" descr="https://www.ishn.com/ext/resources/900x550/airplane-plane-flight-900.jpg?1583412590">
            <a:extLst>
              <a:ext uri="{FF2B5EF4-FFF2-40B4-BE49-F238E27FC236}">
                <a16:creationId xmlns:a16="http://schemas.microsoft.com/office/drawing/2014/main" id="{AE688EA3-E2FF-4FB9-85CE-6819059956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8786" y="3429000"/>
            <a:ext cx="2342362" cy="1125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4F4CC53-DF7A-4D73-8564-E8C768776681}"/>
              </a:ext>
            </a:extLst>
          </p:cNvPr>
          <p:cNvSpPr/>
          <p:nvPr/>
        </p:nvSpPr>
        <p:spPr>
          <a:xfrm>
            <a:off x="613984" y="5230185"/>
            <a:ext cx="25195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 3. Bounc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A821983-2038-4C44-9212-2D88B289EC9E}"/>
              </a:ext>
            </a:extLst>
          </p:cNvPr>
          <p:cNvSpPr/>
          <p:nvPr/>
        </p:nvSpPr>
        <p:spPr>
          <a:xfrm>
            <a:off x="6320854" y="2410452"/>
            <a:ext cx="25195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 4. Swi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0521B51-527E-4218-B554-A13A50509EEF}"/>
              </a:ext>
            </a:extLst>
          </p:cNvPr>
          <p:cNvSpPr/>
          <p:nvPr/>
        </p:nvSpPr>
        <p:spPr>
          <a:xfrm>
            <a:off x="605969" y="3959415"/>
            <a:ext cx="25195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 2. Swipe (4 chức năng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1B3C479-DC08-4CEE-A521-DF3841CBF9D8}"/>
              </a:ext>
            </a:extLst>
          </p:cNvPr>
          <p:cNvSpPr/>
          <p:nvPr/>
        </p:nvSpPr>
        <p:spPr>
          <a:xfrm>
            <a:off x="613984" y="2413730"/>
            <a:ext cx="25195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 1. Spin</a:t>
            </a:r>
          </a:p>
        </p:txBody>
      </p:sp>
      <p:pic>
        <p:nvPicPr>
          <p:cNvPr id="15" name="Picture 2" descr="https://www.ishn.com/ext/resources/900x550/airplane-plane-flight-900.jpg?1583412590">
            <a:extLst>
              <a:ext uri="{FF2B5EF4-FFF2-40B4-BE49-F238E27FC236}">
                <a16:creationId xmlns:a16="http://schemas.microsoft.com/office/drawing/2014/main" id="{25573EB3-79FD-4C0B-91E9-C547AD8452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8786" y="4928118"/>
            <a:ext cx="2342362" cy="1125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https://www.ishn.com/ext/resources/900x550/airplane-plane-flight-900.jpg?1583412590">
            <a:extLst>
              <a:ext uri="{FF2B5EF4-FFF2-40B4-BE49-F238E27FC236}">
                <a16:creationId xmlns:a16="http://schemas.microsoft.com/office/drawing/2014/main" id="{B25A1118-A63F-40A1-A05D-560F491F1F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2277" y="2035149"/>
            <a:ext cx="2342362" cy="1125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https://www.ishn.com/ext/resources/900x550/airplane-plane-flight-900.jpg?1583412590">
            <a:extLst>
              <a:ext uri="{FF2B5EF4-FFF2-40B4-BE49-F238E27FC236}">
                <a16:creationId xmlns:a16="http://schemas.microsoft.com/office/drawing/2014/main" id="{C691CCF0-A1B4-4853-B051-F8F150ECF2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8785" y="2032436"/>
            <a:ext cx="2342362" cy="1125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F896AC45-0EF9-4CAF-81F1-E1CD5B0D1BD3}"/>
              </a:ext>
            </a:extLst>
          </p:cNvPr>
          <p:cNvSpPr/>
          <p:nvPr/>
        </p:nvSpPr>
        <p:spPr>
          <a:xfrm>
            <a:off x="11464906" y="6141493"/>
            <a:ext cx="727094" cy="713880"/>
          </a:xfrm>
          <a:prstGeom prst="triangle">
            <a:avLst>
              <a:gd name="adj" fmla="val 100000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2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66322442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2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3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4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5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7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9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1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98984FC-E975-4738-BC3C-2FDE82BD6369}"/>
              </a:ext>
            </a:extLst>
          </p:cNvPr>
          <p:cNvCxnSpPr>
            <a:cxnSpLocks/>
          </p:cNvCxnSpPr>
          <p:nvPr/>
        </p:nvCxnSpPr>
        <p:spPr>
          <a:xfrm>
            <a:off x="1450059" y="3778286"/>
            <a:ext cx="0" cy="20363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70BEB94F-CFDC-4DC6-A381-E763BBFD7A42}"/>
              </a:ext>
            </a:extLst>
          </p:cNvPr>
          <p:cNvCxnSpPr>
            <a:cxnSpLocks/>
          </p:cNvCxnSpPr>
          <p:nvPr/>
        </p:nvCxnSpPr>
        <p:spPr>
          <a:xfrm flipH="1">
            <a:off x="4622607" y="5004329"/>
            <a:ext cx="9666" cy="5636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5B0B5F5-BBDF-4019-9474-39F1D51CD3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Ph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ơng pháp thực hiệ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79E69F-973B-44E6-A785-B8E7318997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853754"/>
            <a:ext cx="12192000" cy="3685655"/>
          </a:xfrm>
        </p:spPr>
        <p:txBody>
          <a:bodyPr>
            <a:normAutofit/>
          </a:bodyPr>
          <a:lstStyle/>
          <a:p>
            <a:r>
              <a:rPr lang="en-US" b="1" i="1" dirty="0">
                <a:latin typeface="Arial" panose="020B0604020202020204" pitchFamily="34" charset="0"/>
                <a:cs typeface="Arial" panose="020B0604020202020204" pitchFamily="34" charset="0"/>
              </a:rPr>
              <a:t>Thuật toán chung :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5753609E-6CDD-43A4-9D6F-248D7A79423E}"/>
              </a:ext>
            </a:extLst>
          </p:cNvPr>
          <p:cNvSpPr/>
          <p:nvPr/>
        </p:nvSpPr>
        <p:spPr>
          <a:xfrm>
            <a:off x="3862315" y="1915225"/>
            <a:ext cx="1501255" cy="486514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ắt đầu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3FE21D04-E28E-4B98-AE63-A3C423729DAD}"/>
              </a:ext>
            </a:extLst>
          </p:cNvPr>
          <p:cNvSpPr/>
          <p:nvPr/>
        </p:nvSpPr>
        <p:spPr>
          <a:xfrm>
            <a:off x="3576279" y="2690333"/>
            <a:ext cx="2092657" cy="425311"/>
          </a:xfrm>
          <a:prstGeom prst="parallelogram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Đọc ảnh</a:t>
            </a:r>
          </a:p>
        </p:txBody>
      </p:sp>
      <p:sp>
        <p:nvSpPr>
          <p:cNvPr id="9" name="Diamond 8">
            <a:extLst>
              <a:ext uri="{FF2B5EF4-FFF2-40B4-BE49-F238E27FC236}">
                <a16:creationId xmlns:a16="http://schemas.microsoft.com/office/drawing/2014/main" id="{2C03A378-3D72-4335-ABCF-8CF1ECA091B0}"/>
              </a:ext>
            </a:extLst>
          </p:cNvPr>
          <p:cNvSpPr/>
          <p:nvPr/>
        </p:nvSpPr>
        <p:spPr>
          <a:xfrm>
            <a:off x="3206650" y="3418929"/>
            <a:ext cx="2831914" cy="738941"/>
          </a:xfrm>
          <a:prstGeom prst="diamond">
            <a:avLst/>
          </a:prstGeom>
          <a:solidFill>
            <a:srgbClr val="FF920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Hết animation?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1EEC51-2EDE-47DF-A96C-74B1A26B3EF7}"/>
              </a:ext>
            </a:extLst>
          </p:cNvPr>
          <p:cNvSpPr/>
          <p:nvPr/>
        </p:nvSpPr>
        <p:spPr>
          <a:xfrm>
            <a:off x="3282285" y="4451222"/>
            <a:ext cx="2661313" cy="738941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ử </a:t>
            </a:r>
            <a:r>
              <a:rPr lang="en-US"/>
              <a:t>lý ảnh</a:t>
            </a:r>
            <a:endParaRPr lang="en-US" dirty="0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D8EEE447-E2A9-4E23-B609-1C54410E9D40}"/>
              </a:ext>
            </a:extLst>
          </p:cNvPr>
          <p:cNvSpPr/>
          <p:nvPr/>
        </p:nvSpPr>
        <p:spPr>
          <a:xfrm>
            <a:off x="3421036" y="5565099"/>
            <a:ext cx="2403142" cy="514072"/>
          </a:xfrm>
          <a:prstGeom prst="parallelogram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uất ảnh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D056BEF-7461-437F-9BEA-968A56D7C285}"/>
              </a:ext>
            </a:extLst>
          </p:cNvPr>
          <p:cNvSpPr/>
          <p:nvPr/>
        </p:nvSpPr>
        <p:spPr>
          <a:xfrm>
            <a:off x="6643615" y="3545142"/>
            <a:ext cx="1771937" cy="486514"/>
          </a:xfrm>
          <a:prstGeom prst="ellipse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ết thúc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BAE20FF9-913A-4685-B011-2F4731269900}"/>
              </a:ext>
            </a:extLst>
          </p:cNvPr>
          <p:cNvCxnSpPr>
            <a:stCxn id="4" idx="4"/>
            <a:endCxn id="6" idx="0"/>
          </p:cNvCxnSpPr>
          <p:nvPr/>
        </p:nvCxnSpPr>
        <p:spPr>
          <a:xfrm>
            <a:off x="4612943" y="2401739"/>
            <a:ext cx="9665" cy="2885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2643024-3AE3-49D9-8C70-7F15DF78EF48}"/>
              </a:ext>
            </a:extLst>
          </p:cNvPr>
          <p:cNvCxnSpPr>
            <a:cxnSpLocks/>
            <a:stCxn id="6" idx="4"/>
          </p:cNvCxnSpPr>
          <p:nvPr/>
        </p:nvCxnSpPr>
        <p:spPr>
          <a:xfrm flipH="1">
            <a:off x="4612942" y="3115644"/>
            <a:ext cx="9666" cy="3235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5B3EC8BF-E132-4815-9744-E89BB2CCF9D3}"/>
              </a:ext>
            </a:extLst>
          </p:cNvPr>
          <p:cNvCxnSpPr>
            <a:cxnSpLocks/>
          </p:cNvCxnSpPr>
          <p:nvPr/>
        </p:nvCxnSpPr>
        <p:spPr>
          <a:xfrm flipH="1">
            <a:off x="4622607" y="4141057"/>
            <a:ext cx="9666" cy="3235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7E289E17-28A9-4ED1-A067-0C273B278D08}"/>
              </a:ext>
            </a:extLst>
          </p:cNvPr>
          <p:cNvCxnSpPr/>
          <p:nvPr/>
        </p:nvCxnSpPr>
        <p:spPr>
          <a:xfrm>
            <a:off x="6038564" y="3788399"/>
            <a:ext cx="60505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B48666FF-E3A5-4D27-974C-717732451032}"/>
              </a:ext>
            </a:extLst>
          </p:cNvPr>
          <p:cNvCxnSpPr>
            <a:cxnSpLocks/>
          </p:cNvCxnSpPr>
          <p:nvPr/>
        </p:nvCxnSpPr>
        <p:spPr>
          <a:xfrm flipV="1">
            <a:off x="1434713" y="3778286"/>
            <a:ext cx="1811452" cy="101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E00B961-4406-4AA5-B192-EAE53093209E}"/>
              </a:ext>
            </a:extLst>
          </p:cNvPr>
          <p:cNvCxnSpPr>
            <a:cxnSpLocks/>
            <a:stCxn id="11" idx="5"/>
          </p:cNvCxnSpPr>
          <p:nvPr/>
        </p:nvCxnSpPr>
        <p:spPr>
          <a:xfrm flipH="1" flipV="1">
            <a:off x="1450059" y="5814639"/>
            <a:ext cx="2035236" cy="74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Isosceles Triangle 24">
            <a:extLst>
              <a:ext uri="{FF2B5EF4-FFF2-40B4-BE49-F238E27FC236}">
                <a16:creationId xmlns:a16="http://schemas.microsoft.com/office/drawing/2014/main" id="{1C322C5B-A6CE-42E6-89AF-37DA3CB863F0}"/>
              </a:ext>
            </a:extLst>
          </p:cNvPr>
          <p:cNvSpPr/>
          <p:nvPr/>
        </p:nvSpPr>
        <p:spPr>
          <a:xfrm>
            <a:off x="11464906" y="6141493"/>
            <a:ext cx="727094" cy="713880"/>
          </a:xfrm>
          <a:prstGeom prst="triangle">
            <a:avLst>
              <a:gd name="adj" fmla="val 100000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2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086439533"/>
      </p:ext>
    </p:extLst>
  </p:cSld>
  <p:clrMapOvr>
    <a:masterClrMapping/>
  </p:clrMapOvr>
  <p:transition spd="slow">
    <p:cov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B0B5F5-BBDF-4019-9474-39F1D51CD3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Ph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ơng pháp thực hiệ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79E69F-973B-44E6-A785-B8E7318997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853754"/>
            <a:ext cx="12192000" cy="3685655"/>
          </a:xfrm>
        </p:spPr>
        <p:txBody>
          <a:bodyPr>
            <a:norm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Đối với các animation dạng thoát ra như </a:t>
            </a:r>
            <a:r>
              <a:rPr lang="en-US" sz="2400" b="1" i="1" dirty="0">
                <a:latin typeface="Arial" panose="020B0604020202020204" pitchFamily="34" charset="0"/>
                <a:cs typeface="Arial" panose="020B0604020202020204" pitchFamily="34" charset="0"/>
              </a:rPr>
              <a:t>Swipe, Split, Shape, Wheel, Random bars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1: &lt;Chuyển hệ màu của ảnh sang HSV&gt;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2: Duyệt qua ảnh theo thứ tự nhất định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3: Duyệt tới đâu thì thực hiện thay đổi ảnh tới đó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- giảm V và tăng S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- thay thế pixel ảnh bằng màu trắng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4: Chiếu từng hình sau mỗi lần thực hiện thay đổi</a:t>
            </a:r>
          </a:p>
        </p:txBody>
      </p:sp>
      <p:pic>
        <p:nvPicPr>
          <p:cNvPr id="5" name="Picture 2" descr="https://www.ishn.com/ext/resources/900x550/airplane-plane-flight-900.jpg?1583412590">
            <a:extLst>
              <a:ext uri="{FF2B5EF4-FFF2-40B4-BE49-F238E27FC236}">
                <a16:creationId xmlns:a16="http://schemas.microsoft.com/office/drawing/2014/main" id="{2548C30E-D415-4A59-A972-011CEB88D8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7336" y="2440850"/>
            <a:ext cx="4766770" cy="2913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E66C6622-0267-4684-8FFC-7A661F0645E1}"/>
              </a:ext>
            </a:extLst>
          </p:cNvPr>
          <p:cNvSpPr/>
          <p:nvPr/>
        </p:nvSpPr>
        <p:spPr>
          <a:xfrm>
            <a:off x="11464906" y="6141493"/>
            <a:ext cx="727094" cy="713880"/>
          </a:xfrm>
          <a:prstGeom prst="triangle">
            <a:avLst>
              <a:gd name="adj" fmla="val 100000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2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93456881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60" dur="5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B0B5F5-BBDF-4019-9474-39F1D51CD3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Ph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ơng pháp thực hiệ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79E69F-973B-44E6-A785-B8E7318997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182229"/>
            <a:ext cx="9419208" cy="341958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Hệ màu HSV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(Hue, Saturation</a:t>
            </a:r>
            <a:r>
              <a:rPr lang="en-US" sz="2400">
                <a:latin typeface="Arial" panose="020B0604020202020204" pitchFamily="34" charset="0"/>
                <a:cs typeface="Arial" panose="020B0604020202020204" pitchFamily="34" charset="0"/>
              </a:rPr>
              <a:t>, Value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hay đổi màu sắc dễ dàng hơn hệ RGB</a:t>
            </a: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ó nhiều thư viện hỗ trợ</a:t>
            </a: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Color picker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D5A6A4F7-0F31-4D0E-BA77-8D9A0B8892DE}"/>
              </a:ext>
            </a:extLst>
          </p:cNvPr>
          <p:cNvSpPr/>
          <p:nvPr/>
        </p:nvSpPr>
        <p:spPr>
          <a:xfrm>
            <a:off x="11464906" y="6141493"/>
            <a:ext cx="727094" cy="713880"/>
          </a:xfrm>
          <a:prstGeom prst="triangle">
            <a:avLst>
              <a:gd name="adj" fmla="val 100000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2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00978435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B0B5F5-BBDF-4019-9474-39F1D51CD3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Ph</a:t>
            </a:r>
            <a:r>
              <a:rPr lang="vi-VN" dirty="0"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ơng pháp thực hiệ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79E69F-973B-44E6-A785-B8E7318997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853754"/>
            <a:ext cx="12192000" cy="3685655"/>
          </a:xfrm>
        </p:spPr>
        <p:txBody>
          <a:bodyPr>
            <a:normAutofit lnSpcReduction="10000"/>
          </a:bodyPr>
          <a:lstStyle/>
          <a:p>
            <a:r>
              <a:rPr lang="en-US" sz="2400" noProof="1">
                <a:latin typeface="Arial" panose="020B0604020202020204" pitchFamily="34" charset="0"/>
                <a:cs typeface="Arial" panose="020B0604020202020204" pitchFamily="34" charset="0"/>
              </a:rPr>
              <a:t>Đối với các animation có thể thay đổi hình dạng ảnh hay vị trí ảnh như </a:t>
            </a:r>
            <a:r>
              <a:rPr lang="en-US" sz="2400" b="1" noProof="1">
                <a:latin typeface="Arial" panose="020B0604020202020204" pitchFamily="34" charset="0"/>
                <a:cs typeface="Arial" panose="020B0604020202020204" pitchFamily="34" charset="0"/>
              </a:rPr>
              <a:t>Fly in, Swivel, Bounce</a:t>
            </a:r>
            <a:r>
              <a:rPr lang="en-US" sz="2400" noProof="1">
                <a:latin typeface="Arial" panose="020B0604020202020204" pitchFamily="34" charset="0"/>
                <a:cs typeface="Arial" panose="020B0604020202020204" pitchFamily="34" charset="0"/>
              </a:rPr>
              <a:t>, …:</a:t>
            </a:r>
          </a:p>
          <a:p>
            <a:pPr marL="0" indent="0">
              <a:buNone/>
            </a:pPr>
            <a:r>
              <a:rPr lang="en-US" noProof="1">
                <a:latin typeface="Arial" panose="020B0604020202020204" pitchFamily="34" charset="0"/>
                <a:cs typeface="Arial" panose="020B0604020202020204" pitchFamily="34" charset="0"/>
              </a:rPr>
              <a:t>B1: Chạy vòng lặp với số lần hữu hạn</a:t>
            </a:r>
          </a:p>
          <a:p>
            <a:pPr marL="0" indent="0">
              <a:buNone/>
            </a:pPr>
            <a:r>
              <a:rPr lang="en-US" noProof="1">
                <a:latin typeface="Arial" panose="020B0604020202020204" pitchFamily="34" charset="0"/>
                <a:cs typeface="Arial" panose="020B0604020202020204" pitchFamily="34" charset="0"/>
              </a:rPr>
              <a:t>B2: Mỗi lần lặp thì thực hiện thay đổi ảnh</a:t>
            </a:r>
          </a:p>
          <a:p>
            <a:pPr marL="0" indent="0">
              <a:buNone/>
            </a:pPr>
            <a:r>
              <a:rPr lang="en-US" noProof="1">
                <a:latin typeface="Arial" panose="020B0604020202020204" pitchFamily="34" charset="0"/>
                <a:cs typeface="Arial" panose="020B0604020202020204" pitchFamily="34" charset="0"/>
              </a:rPr>
              <a:t>	- tăng giảm kích thước ảnh</a:t>
            </a:r>
          </a:p>
          <a:p>
            <a:pPr marL="0" indent="0">
              <a:buNone/>
            </a:pPr>
            <a:r>
              <a:rPr lang="en-US" noProof="1">
                <a:latin typeface="Arial" panose="020B0604020202020204" pitchFamily="34" charset="0"/>
                <a:cs typeface="Arial" panose="020B0604020202020204" pitchFamily="34" charset="0"/>
              </a:rPr>
              <a:t>	- thay đổi vị trí ảnh so với khung hình</a:t>
            </a:r>
          </a:p>
          <a:p>
            <a:pPr marL="0" indent="0">
              <a:buNone/>
            </a:pPr>
            <a:r>
              <a:rPr lang="en-US" noProof="1">
                <a:latin typeface="Arial" panose="020B0604020202020204" pitchFamily="34" charset="0"/>
                <a:cs typeface="Arial" panose="020B0604020202020204" pitchFamily="34" charset="0"/>
              </a:rPr>
              <a:t>	- sử dụng affine transformation</a:t>
            </a:r>
          </a:p>
          <a:p>
            <a:pPr marL="0" indent="0">
              <a:buNone/>
            </a:pPr>
            <a:r>
              <a:rPr lang="en-US" noProof="1">
                <a:latin typeface="Arial" panose="020B0604020202020204" pitchFamily="34" charset="0"/>
                <a:cs typeface="Arial" panose="020B0604020202020204" pitchFamily="34" charset="0"/>
              </a:rPr>
              <a:t>B3: Chiếu từng hình sau mỗi lần thực hiện thay đổi</a:t>
            </a:r>
          </a:p>
        </p:txBody>
      </p:sp>
      <p:pic>
        <p:nvPicPr>
          <p:cNvPr id="5" name="Picture 2" descr="https://www.ishn.com/ext/resources/900x550/airplane-plane-flight-900.jpg?1583412590">
            <a:extLst>
              <a:ext uri="{FF2B5EF4-FFF2-40B4-BE49-F238E27FC236}">
                <a16:creationId xmlns:a16="http://schemas.microsoft.com/office/drawing/2014/main" id="{2548C30E-D415-4A59-A972-011CEB88D8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3814" y="2626382"/>
            <a:ext cx="4766770" cy="2913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71069258-B0CB-4C71-A835-A91E34F0C0B1}"/>
              </a:ext>
            </a:extLst>
          </p:cNvPr>
          <p:cNvSpPr/>
          <p:nvPr/>
        </p:nvSpPr>
        <p:spPr>
          <a:xfrm>
            <a:off x="11464906" y="6141493"/>
            <a:ext cx="727094" cy="713880"/>
          </a:xfrm>
          <a:prstGeom prst="triangle">
            <a:avLst>
              <a:gd name="adj" fmla="val 100000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2"/>
                </a:solidFill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170015515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45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2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2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Animations_4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43000" r="43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allery</Template>
  <TotalTime>456</TotalTime>
  <Words>718</Words>
  <Application>Microsoft Office PowerPoint</Application>
  <PresentationFormat>Widescreen</PresentationFormat>
  <Paragraphs>111</Paragraphs>
  <Slides>16</Slides>
  <Notes>2</Notes>
  <HiddenSlides>0</HiddenSlides>
  <MMClips>1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Calibri</vt:lpstr>
      <vt:lpstr>Gill Sans MT</vt:lpstr>
      <vt:lpstr>Times New Roman</vt:lpstr>
      <vt:lpstr>Gallery</vt:lpstr>
      <vt:lpstr>   Báo Cáo seminar </vt:lpstr>
      <vt:lpstr>Giới thiệu</vt:lpstr>
      <vt:lpstr>1. Giới thiệu đề tài</vt:lpstr>
      <vt:lpstr>PowerPoint Presentation</vt:lpstr>
      <vt:lpstr>2. Các animation đã làm</vt:lpstr>
      <vt:lpstr>3. Phương pháp thực hiện</vt:lpstr>
      <vt:lpstr>3. Phương pháp thực hiện</vt:lpstr>
      <vt:lpstr>3. Phương pháp thực hiện</vt:lpstr>
      <vt:lpstr>3. Phương pháp thực hiện</vt:lpstr>
      <vt:lpstr>3. Phương pháp thực hiện</vt:lpstr>
      <vt:lpstr>3. Phương pháp thực hiện</vt:lpstr>
      <vt:lpstr>4. Demo</vt:lpstr>
      <vt:lpstr>4. Demo</vt:lpstr>
      <vt:lpstr>5.Kết luận</vt:lpstr>
      <vt:lpstr>5.Kết luậ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áo Cáo seminar</dc:title>
  <dc:creator>Lê Dương Khánh Việt</dc:creator>
  <cp:lastModifiedBy>Nguyễn Lộc Linh</cp:lastModifiedBy>
  <cp:revision>40</cp:revision>
  <dcterms:created xsi:type="dcterms:W3CDTF">2021-06-19T11:34:31Z</dcterms:created>
  <dcterms:modified xsi:type="dcterms:W3CDTF">2021-06-20T13:48:09Z</dcterms:modified>
</cp:coreProperties>
</file>